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7"/>
  </p:notesMasterIdLst>
  <p:sldIdLst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A12CA3-46F1-8751-4FD5-7EF4627B1F46}" v="15" dt="2025-02-03T08:03:00.3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gvild Eide Graff" userId="e23c6d5e-6bc8-4d0e-ae78-8ab307c5cc03" providerId="ADAL" clId="{4047F99D-7BB6-46E9-9947-CF1E9D898140}"/>
    <pc:docChg chg="modSld">
      <pc:chgData name="Ingvild Eide Graff" userId="e23c6d5e-6bc8-4d0e-ae78-8ab307c5cc03" providerId="ADAL" clId="{4047F99D-7BB6-46E9-9947-CF1E9D898140}" dt="2024-09-16T13:20:38.696" v="0" actId="20577"/>
      <pc:docMkLst>
        <pc:docMk/>
      </pc:docMkLst>
      <pc:sldChg chg="modSp mod">
        <pc:chgData name="Ingvild Eide Graff" userId="e23c6d5e-6bc8-4d0e-ae78-8ab307c5cc03" providerId="ADAL" clId="{4047F99D-7BB6-46E9-9947-CF1E9D898140}" dt="2024-09-16T13:20:38.696" v="0" actId="20577"/>
        <pc:sldMkLst>
          <pc:docMk/>
          <pc:sldMk cId="4253124984" sldId="256"/>
        </pc:sldMkLst>
      </pc:sldChg>
    </pc:docChg>
  </pc:docChgLst>
  <pc:docChgLst>
    <pc:chgData name="Tonje Zahl-Thanem" userId="S::tonje.zahl-thanem@fhi.no::68dae5c0-dca0-48ca-8af5-024062a0cb0d" providerId="AD" clId="Web-{6B389FE1-1880-54CC-56B4-9DAF51A61EBF}"/>
    <pc:docChg chg="modSld">
      <pc:chgData name="Tonje Zahl-Thanem" userId="S::tonje.zahl-thanem@fhi.no::68dae5c0-dca0-48ca-8af5-024062a0cb0d" providerId="AD" clId="Web-{6B389FE1-1880-54CC-56B4-9DAF51A61EBF}" dt="2024-05-24T12:00:09.528" v="7"/>
      <pc:docMkLst>
        <pc:docMk/>
      </pc:docMkLst>
      <pc:sldChg chg="modSp">
        <pc:chgData name="Tonje Zahl-Thanem" userId="S::tonje.zahl-thanem@fhi.no::68dae5c0-dca0-48ca-8af5-024062a0cb0d" providerId="AD" clId="Web-{6B389FE1-1880-54CC-56B4-9DAF51A61EBF}" dt="2024-05-24T12:00:09.528" v="7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C6103613-01E7-A9C3-4008-B693F5127FE2}"/>
    <pc:docChg chg="modSld">
      <pc:chgData name="Håvard Kolle Riis" userId="S::havard.kolle.riis@fhi.no::9eeaf08c-70e4-4442-9242-361477552e6a" providerId="AD" clId="Web-{C6103613-01E7-A9C3-4008-B693F5127FE2}" dt="2024-05-06T08:04:11.658" v="392"/>
      <pc:docMkLst>
        <pc:docMk/>
      </pc:docMkLst>
      <pc:sldChg chg="modSp">
        <pc:chgData name="Håvard Kolle Riis" userId="S::havard.kolle.riis@fhi.no::9eeaf08c-70e4-4442-9242-361477552e6a" providerId="AD" clId="Web-{C6103613-01E7-A9C3-4008-B693F5127FE2}" dt="2024-05-06T08:04:11.658" v="392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55A12CA3-46F1-8751-4FD5-7EF4627B1F46}"/>
    <pc:docChg chg="modSld">
      <pc:chgData name="Håvard Kolle Riis" userId="S::havard.kolle.riis@fhi.no::9eeaf08c-70e4-4442-9242-361477552e6a" providerId="AD" clId="Web-{55A12CA3-46F1-8751-4FD5-7EF4627B1F46}" dt="2025-02-03T08:02:56.823" v="7"/>
      <pc:docMkLst>
        <pc:docMk/>
      </pc:docMkLst>
      <pc:sldChg chg="modSp">
        <pc:chgData name="Håvard Kolle Riis" userId="S::havard.kolle.riis@fhi.no::9eeaf08c-70e4-4442-9242-361477552e6a" providerId="AD" clId="Web-{55A12CA3-46F1-8751-4FD5-7EF4627B1F46}" dt="2025-02-03T08:02:56.823" v="7"/>
        <pc:sldMkLst>
          <pc:docMk/>
          <pc:sldMk cId="4253124984" sldId="256"/>
        </pc:sldMkLst>
        <pc:graphicFrameChg chg="mod modGraphic">
          <ac:chgData name="Håvard Kolle Riis" userId="S::havard.kolle.riis@fhi.no::9eeaf08c-70e4-4442-9242-361477552e6a" providerId="AD" clId="Web-{55A12CA3-46F1-8751-4FD5-7EF4627B1F46}" dt="2025-02-03T08:02:56.823" v="7"/>
          <ac:graphicFrameMkLst>
            <pc:docMk/>
            <pc:sldMk cId="4253124984" sldId="256"/>
            <ac:graphicFrameMk id="8" creationId="{E00CD574-5025-976C-B0D3-6E72DEE739EF}"/>
          </ac:graphicFrameMkLst>
        </pc:graphicFrameChg>
      </pc:sldChg>
    </pc:docChg>
  </pc:docChgLst>
  <pc:docChgLst>
    <pc:chgData name="Håvard Kolle Riis" userId="S::havard.kolle.riis@fhi.no::9eeaf08c-70e4-4442-9242-361477552e6a" providerId="AD" clId="Web-{FAAE0EA9-FF4E-AC16-18A4-0C31050D34CC}"/>
    <pc:docChg chg="modSld">
      <pc:chgData name="Håvard Kolle Riis" userId="S::havard.kolle.riis@fhi.no::9eeaf08c-70e4-4442-9242-361477552e6a" providerId="AD" clId="Web-{FAAE0EA9-FF4E-AC16-18A4-0C31050D34CC}" dt="2025-01-28T11:25:59.236" v="263"/>
      <pc:docMkLst>
        <pc:docMk/>
      </pc:docMkLst>
      <pc:sldChg chg="modSp">
        <pc:chgData name="Håvard Kolle Riis" userId="S::havard.kolle.riis@fhi.no::9eeaf08c-70e4-4442-9242-361477552e6a" providerId="AD" clId="Web-{FAAE0EA9-FF4E-AC16-18A4-0C31050D34CC}" dt="2025-01-28T11:25:59.236" v="263"/>
        <pc:sldMkLst>
          <pc:docMk/>
          <pc:sldMk cId="4253124984" sldId="256"/>
        </pc:sldMkLst>
        <pc:graphicFrameChg chg="mod modGraphic">
          <ac:chgData name="Håvard Kolle Riis" userId="S::havard.kolle.riis@fhi.no::9eeaf08c-70e4-4442-9242-361477552e6a" providerId="AD" clId="Web-{FAAE0EA9-FF4E-AC16-18A4-0C31050D34CC}" dt="2025-01-28T11:25:59.236" v="263"/>
          <ac:graphicFrameMkLst>
            <pc:docMk/>
            <pc:sldMk cId="4253124984" sldId="256"/>
            <ac:graphicFrameMk id="8" creationId="{E00CD574-5025-976C-B0D3-6E72DEE739EF}"/>
          </ac:graphicFrameMkLst>
        </pc:graphicFrameChg>
      </pc:sldChg>
    </pc:docChg>
  </pc:docChgLst>
  <pc:docChgLst>
    <pc:chgData name="Håvard Kolle Riis" userId="S::havard.kolle.riis@fhi.no::9eeaf08c-70e4-4442-9242-361477552e6a" providerId="AD" clId="Web-{0BEAB255-CACD-B407-1B53-96E5A11AED79}"/>
    <pc:docChg chg="modSld">
      <pc:chgData name="Håvard Kolle Riis" userId="S::havard.kolle.riis@fhi.no::9eeaf08c-70e4-4442-9242-361477552e6a" providerId="AD" clId="Web-{0BEAB255-CACD-B407-1B53-96E5A11AED79}" dt="2024-02-28T12:15:12.108" v="53"/>
      <pc:docMkLst>
        <pc:docMk/>
      </pc:docMkLst>
      <pc:sldChg chg="modSp">
        <pc:chgData name="Håvard Kolle Riis" userId="S::havard.kolle.riis@fhi.no::9eeaf08c-70e4-4442-9242-361477552e6a" providerId="AD" clId="Web-{0BEAB255-CACD-B407-1B53-96E5A11AED79}" dt="2024-02-28T12:15:12.108" v="53"/>
        <pc:sldMkLst>
          <pc:docMk/>
          <pc:sldMk cId="4253124984" sldId="256"/>
        </pc:sldMkLst>
      </pc:sldChg>
    </pc:docChg>
  </pc:docChgLst>
  <pc:docChgLst>
    <pc:chgData name="Gard Maurud" userId="S::gard.maurud@fhi.no::5fba4059-c34f-4465-91f5-ab8da2ca0bfe" providerId="AD" clId="Web-{8A5A62FD-4BDF-5322-8999-180BE44A7DEF}"/>
    <pc:docChg chg="modSld">
      <pc:chgData name="Gard Maurud" userId="S::gard.maurud@fhi.no::5fba4059-c34f-4465-91f5-ab8da2ca0bfe" providerId="AD" clId="Web-{8A5A62FD-4BDF-5322-8999-180BE44A7DEF}" dt="2024-05-22T12:51:18.752" v="35"/>
      <pc:docMkLst>
        <pc:docMk/>
      </pc:docMkLst>
      <pc:sldChg chg="modSp">
        <pc:chgData name="Gard Maurud" userId="S::gard.maurud@fhi.no::5fba4059-c34f-4465-91f5-ab8da2ca0bfe" providerId="AD" clId="Web-{8A5A62FD-4BDF-5322-8999-180BE44A7DEF}" dt="2024-05-22T12:51:18.752" v="35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CA5FD03D-1435-2F6C-467F-3046402FCFEB}"/>
    <pc:docChg chg="modSld">
      <pc:chgData name="Håvard Kolle Riis" userId="S::havard.kolle.riis@fhi.no::9eeaf08c-70e4-4442-9242-361477552e6a" providerId="AD" clId="Web-{CA5FD03D-1435-2F6C-467F-3046402FCFEB}" dt="2024-05-13T08:07:28.480" v="200"/>
      <pc:docMkLst>
        <pc:docMk/>
      </pc:docMkLst>
      <pc:sldChg chg="modSp">
        <pc:chgData name="Håvard Kolle Riis" userId="S::havard.kolle.riis@fhi.no::9eeaf08c-70e4-4442-9242-361477552e6a" providerId="AD" clId="Web-{CA5FD03D-1435-2F6C-467F-3046402FCFEB}" dt="2024-05-13T08:07:28.480" v="200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E4ED5F03-DE02-7099-EF72-C9137636A960}"/>
    <pc:docChg chg="modSld">
      <pc:chgData name="Håvard Kolle Riis" userId="S::havard.kolle.riis@fhi.no::9eeaf08c-70e4-4442-9242-361477552e6a" providerId="AD" clId="Web-{E4ED5F03-DE02-7099-EF72-C9137636A960}" dt="2024-09-19T08:50:08.480" v="102"/>
      <pc:docMkLst>
        <pc:docMk/>
      </pc:docMkLst>
      <pc:sldChg chg="modSp">
        <pc:chgData name="Håvard Kolle Riis" userId="S::havard.kolle.riis@fhi.no::9eeaf08c-70e4-4442-9242-361477552e6a" providerId="AD" clId="Web-{E4ED5F03-DE02-7099-EF72-C9137636A960}" dt="2024-09-19T08:50:08.480" v="102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370EC37B-A6E0-05E5-3768-0020824EB456}"/>
    <pc:docChg chg="modSld">
      <pc:chgData name="Håvard Kolle Riis" userId="S::havard.kolle.riis@fhi.no::9eeaf08c-70e4-4442-9242-361477552e6a" providerId="AD" clId="Web-{370EC37B-A6E0-05E5-3768-0020824EB456}" dt="2025-01-29T08:15:05.449" v="85"/>
      <pc:docMkLst>
        <pc:docMk/>
      </pc:docMkLst>
      <pc:sldChg chg="modSp">
        <pc:chgData name="Håvard Kolle Riis" userId="S::havard.kolle.riis@fhi.no::9eeaf08c-70e4-4442-9242-361477552e6a" providerId="AD" clId="Web-{370EC37B-A6E0-05E5-3768-0020824EB456}" dt="2025-01-29T08:15:05.449" v="85"/>
        <pc:sldMkLst>
          <pc:docMk/>
          <pc:sldMk cId="4253124984" sldId="256"/>
        </pc:sldMkLst>
        <pc:graphicFrameChg chg="mod modGraphic">
          <ac:chgData name="Håvard Kolle Riis" userId="S::havard.kolle.riis@fhi.no::9eeaf08c-70e4-4442-9242-361477552e6a" providerId="AD" clId="Web-{370EC37B-A6E0-05E5-3768-0020824EB456}" dt="2025-01-29T08:15:05.449" v="85"/>
          <ac:graphicFrameMkLst>
            <pc:docMk/>
            <pc:sldMk cId="4253124984" sldId="256"/>
            <ac:graphicFrameMk id="8" creationId="{E00CD574-5025-976C-B0D3-6E72DEE739EF}"/>
          </ac:graphicFrameMkLst>
        </pc:graphicFrameChg>
      </pc:sldChg>
    </pc:docChg>
  </pc:docChgLst>
  <pc:docChgLst>
    <pc:chgData name="Håvard Kolle Riis" userId="S::havard.kolle.riis@fhi.no::9eeaf08c-70e4-4442-9242-361477552e6a" providerId="AD" clId="Web-{7A31A3EA-8524-31B6-9E8A-2F4B11E97A91}"/>
    <pc:docChg chg="modSld">
      <pc:chgData name="Håvard Kolle Riis" userId="S::havard.kolle.riis@fhi.no::9eeaf08c-70e4-4442-9242-361477552e6a" providerId="AD" clId="Web-{7A31A3EA-8524-31B6-9E8A-2F4B11E97A91}" dt="2024-05-30T13:13:25.014" v="2"/>
      <pc:docMkLst>
        <pc:docMk/>
      </pc:docMkLst>
      <pc:sldChg chg="modSp">
        <pc:chgData name="Håvard Kolle Riis" userId="S::havard.kolle.riis@fhi.no::9eeaf08c-70e4-4442-9242-361477552e6a" providerId="AD" clId="Web-{7A31A3EA-8524-31B6-9E8A-2F4B11E97A91}" dt="2024-05-30T13:13:25.014" v="2"/>
        <pc:sldMkLst>
          <pc:docMk/>
          <pc:sldMk cId="4253124984" sldId="256"/>
        </pc:sldMkLst>
      </pc:sldChg>
    </pc:docChg>
  </pc:docChgLst>
  <pc:docChgLst>
    <pc:chgData name="Håvard Kolle Riis" userId="9eeaf08c-70e4-4442-9242-361477552e6a" providerId="ADAL" clId="{038C0A06-D183-4309-AAD3-B0F4FFFFCC6B}"/>
    <pc:docChg chg="custSel modSld">
      <pc:chgData name="Håvard Kolle Riis" userId="9eeaf08c-70e4-4442-9242-361477552e6a" providerId="ADAL" clId="{038C0A06-D183-4309-AAD3-B0F4FFFFCC6B}" dt="2024-09-10T07:44:14.200" v="202" actId="20577"/>
      <pc:docMkLst>
        <pc:docMk/>
      </pc:docMkLst>
      <pc:sldChg chg="modSp mod">
        <pc:chgData name="Håvard Kolle Riis" userId="9eeaf08c-70e4-4442-9242-361477552e6a" providerId="ADAL" clId="{038C0A06-D183-4309-AAD3-B0F4FFFFCC6B}" dt="2024-09-10T07:44:14.200" v="202" actId="20577"/>
        <pc:sldMkLst>
          <pc:docMk/>
          <pc:sldMk cId="4253124984" sldId="256"/>
        </pc:sldMkLst>
      </pc:sldChg>
    </pc:docChg>
  </pc:docChgLst>
  <pc:docChgLst>
    <pc:chgData name="Gard Maurud" userId="S::gard.maurud@fhi.no::5fba4059-c34f-4465-91f5-ab8da2ca0bfe" providerId="AD" clId="Web-{B89235C3-CCB6-515B-1F4E-4E053573F01F}"/>
    <pc:docChg chg="modSld">
      <pc:chgData name="Gard Maurud" userId="S::gard.maurud@fhi.no::5fba4059-c34f-4465-91f5-ab8da2ca0bfe" providerId="AD" clId="Web-{B89235C3-CCB6-515B-1F4E-4E053573F01F}" dt="2024-05-22T12:21:40.205" v="29"/>
      <pc:docMkLst>
        <pc:docMk/>
      </pc:docMkLst>
      <pc:sldChg chg="modSp">
        <pc:chgData name="Gard Maurud" userId="S::gard.maurud@fhi.no::5fba4059-c34f-4465-91f5-ab8da2ca0bfe" providerId="AD" clId="Web-{B89235C3-CCB6-515B-1F4E-4E053573F01F}" dt="2024-05-22T12:21:40.205" v="29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9065F101-E26C-12E3-5A4A-961229C82362}"/>
    <pc:docChg chg="modSld">
      <pc:chgData name="Håvard Kolle Riis" userId="S::havard.kolle.riis@fhi.no::9eeaf08c-70e4-4442-9242-361477552e6a" providerId="AD" clId="Web-{9065F101-E26C-12E3-5A4A-961229C82362}" dt="2025-01-17T12:22:41.519" v="190"/>
      <pc:docMkLst>
        <pc:docMk/>
      </pc:docMkLst>
      <pc:sldChg chg="modSp">
        <pc:chgData name="Håvard Kolle Riis" userId="S::havard.kolle.riis@fhi.no::9eeaf08c-70e4-4442-9242-361477552e6a" providerId="AD" clId="Web-{9065F101-E26C-12E3-5A4A-961229C82362}" dt="2025-01-17T12:22:41.519" v="190"/>
        <pc:sldMkLst>
          <pc:docMk/>
          <pc:sldMk cId="4253124984" sldId="256"/>
        </pc:sldMkLst>
        <pc:spChg chg="mod">
          <ac:chgData name="Håvard Kolle Riis" userId="S::havard.kolle.riis@fhi.no::9eeaf08c-70e4-4442-9242-361477552e6a" providerId="AD" clId="Web-{9065F101-E26C-12E3-5A4A-961229C82362}" dt="2025-01-17T12:20:45.377" v="4" actId="20577"/>
          <ac:spMkLst>
            <pc:docMk/>
            <pc:sldMk cId="4253124984" sldId="256"/>
            <ac:spMk id="6" creationId="{B6DB03FD-F981-6209-CC3B-54148515A94B}"/>
          </ac:spMkLst>
        </pc:spChg>
        <pc:graphicFrameChg chg="mod modGraphic">
          <ac:chgData name="Håvard Kolle Riis" userId="S::havard.kolle.riis@fhi.no::9eeaf08c-70e4-4442-9242-361477552e6a" providerId="AD" clId="Web-{9065F101-E26C-12E3-5A4A-961229C82362}" dt="2025-01-17T12:22:41.519" v="190"/>
          <ac:graphicFrameMkLst>
            <pc:docMk/>
            <pc:sldMk cId="4253124984" sldId="256"/>
            <ac:graphicFrameMk id="8" creationId="{E00CD574-5025-976C-B0D3-6E72DEE739EF}"/>
          </ac:graphicFrameMkLst>
        </pc:graphicFrameChg>
      </pc:sldChg>
    </pc:docChg>
  </pc:docChgLst>
  <pc:docChgLst>
    <pc:chgData name="Håvard Kolle Riis" userId="S::havard.kolle.riis@fhi.no::9eeaf08c-70e4-4442-9242-361477552e6a" providerId="AD" clId="Web-{1DE362E9-E170-D867-6E48-31F13818F956}"/>
    <pc:docChg chg="modSld">
      <pc:chgData name="Håvard Kolle Riis" userId="S::havard.kolle.riis@fhi.no::9eeaf08c-70e4-4442-9242-361477552e6a" providerId="AD" clId="Web-{1DE362E9-E170-D867-6E48-31F13818F956}" dt="2024-09-16T10:06:27.758" v="27"/>
      <pc:docMkLst>
        <pc:docMk/>
      </pc:docMkLst>
      <pc:sldChg chg="modSp">
        <pc:chgData name="Håvard Kolle Riis" userId="S::havard.kolle.riis@fhi.no::9eeaf08c-70e4-4442-9242-361477552e6a" providerId="AD" clId="Web-{1DE362E9-E170-D867-6E48-31F13818F956}" dt="2024-09-16T10:06:27.758" v="27"/>
        <pc:sldMkLst>
          <pc:docMk/>
          <pc:sldMk cId="4253124984" sldId="256"/>
        </pc:sldMkLst>
      </pc:sldChg>
    </pc:docChg>
  </pc:docChgLst>
  <pc:docChgLst>
    <pc:chgData name="Håvard Kolle Riis" userId="9eeaf08c-70e4-4442-9242-361477552e6a" providerId="ADAL" clId="{27EAFA84-B477-4B86-94AC-621C93F03156}"/>
    <pc:docChg chg="custSel modSld">
      <pc:chgData name="Håvard Kolle Riis" userId="9eeaf08c-70e4-4442-9242-361477552e6a" providerId="ADAL" clId="{27EAFA84-B477-4B86-94AC-621C93F03156}" dt="2024-05-30T09:56:58.780" v="102" actId="20577"/>
      <pc:docMkLst>
        <pc:docMk/>
      </pc:docMkLst>
      <pc:sldChg chg="modSp mod">
        <pc:chgData name="Håvard Kolle Riis" userId="9eeaf08c-70e4-4442-9242-361477552e6a" providerId="ADAL" clId="{27EAFA84-B477-4B86-94AC-621C93F03156}" dt="2024-05-30T09:56:58.780" v="102" actId="20577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F788D5A8-C99D-F912-CB69-FA49D54D41DA}"/>
    <pc:docChg chg="modSld">
      <pc:chgData name="Håvard Kolle Riis" userId="S::havard.kolle.riis@fhi.no::9eeaf08c-70e4-4442-9242-361477552e6a" providerId="AD" clId="Web-{F788D5A8-C99D-F912-CB69-FA49D54D41DA}" dt="2024-02-28T11:09:03.252" v="207"/>
      <pc:docMkLst>
        <pc:docMk/>
      </pc:docMkLst>
      <pc:sldChg chg="modSp">
        <pc:chgData name="Håvard Kolle Riis" userId="S::havard.kolle.riis@fhi.no::9eeaf08c-70e4-4442-9242-361477552e6a" providerId="AD" clId="Web-{F788D5A8-C99D-F912-CB69-FA49D54D41DA}" dt="2024-02-28T11:09:03.252" v="207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0B0E8803-540C-D387-CA4B-4213D53DD163}"/>
    <pc:docChg chg="modSld">
      <pc:chgData name="Håvard Kolle Riis" userId="S::havard.kolle.riis@fhi.no::9eeaf08c-70e4-4442-9242-361477552e6a" providerId="AD" clId="Web-{0B0E8803-540C-D387-CA4B-4213D53DD163}" dt="2025-01-29T13:46:14.036" v="40"/>
      <pc:docMkLst>
        <pc:docMk/>
      </pc:docMkLst>
      <pc:sldChg chg="modSp">
        <pc:chgData name="Håvard Kolle Riis" userId="S::havard.kolle.riis@fhi.no::9eeaf08c-70e4-4442-9242-361477552e6a" providerId="AD" clId="Web-{0B0E8803-540C-D387-CA4B-4213D53DD163}" dt="2025-01-29T13:46:14.036" v="40"/>
        <pc:sldMkLst>
          <pc:docMk/>
          <pc:sldMk cId="4253124984" sldId="256"/>
        </pc:sldMkLst>
        <pc:graphicFrameChg chg="mod modGraphic">
          <ac:chgData name="Håvard Kolle Riis" userId="S::havard.kolle.riis@fhi.no::9eeaf08c-70e4-4442-9242-361477552e6a" providerId="AD" clId="Web-{0B0E8803-540C-D387-CA4B-4213D53DD163}" dt="2025-01-29T13:46:14.036" v="40"/>
          <ac:graphicFrameMkLst>
            <pc:docMk/>
            <pc:sldMk cId="4253124984" sldId="256"/>
            <ac:graphicFrameMk id="8" creationId="{E00CD574-5025-976C-B0D3-6E72DEE739EF}"/>
          </ac:graphicFrameMkLst>
        </pc:graphicFrameChg>
      </pc:sldChg>
    </pc:docChg>
  </pc:docChgLst>
  <pc:docChgLst>
    <pc:chgData name="Håvard Kolle Riis" userId="S::havard.kolle.riis@fhi.no::9eeaf08c-70e4-4442-9242-361477552e6a" providerId="AD" clId="Web-{5CF60401-329E-E404-CE68-CDCA0F73E037}"/>
    <pc:docChg chg="modSld">
      <pc:chgData name="Håvard Kolle Riis" userId="S::havard.kolle.riis@fhi.no::9eeaf08c-70e4-4442-9242-361477552e6a" providerId="AD" clId="Web-{5CF60401-329E-E404-CE68-CDCA0F73E037}" dt="2024-05-06T11:43:11.859" v="101"/>
      <pc:docMkLst>
        <pc:docMk/>
      </pc:docMkLst>
      <pc:sldChg chg="modSp">
        <pc:chgData name="Håvard Kolle Riis" userId="S::havard.kolle.riis@fhi.no::9eeaf08c-70e4-4442-9242-361477552e6a" providerId="AD" clId="Web-{5CF60401-329E-E404-CE68-CDCA0F73E037}" dt="2024-05-06T11:43:11.859" v="101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5245ED13-AD0A-A2CA-717D-70BCB14258BA}"/>
    <pc:docChg chg="addSld delSld modSld addMainMaster">
      <pc:chgData name="Håvard Kolle Riis" userId="S::havard.kolle.riis@fhi.no::9eeaf08c-70e4-4442-9242-361477552e6a" providerId="AD" clId="Web-{5245ED13-AD0A-A2CA-717D-70BCB14258BA}" dt="2024-02-27T13:58:59.739" v="659" actId="20577"/>
      <pc:docMkLst>
        <pc:docMk/>
      </pc:docMkLst>
      <pc:sldChg chg="addSp delSp modSp mod modClrScheme chgLayout">
        <pc:chgData name="Håvard Kolle Riis" userId="S::havard.kolle.riis@fhi.no::9eeaf08c-70e4-4442-9242-361477552e6a" providerId="AD" clId="Web-{5245ED13-AD0A-A2CA-717D-70BCB14258BA}" dt="2024-02-27T13:58:59.739" v="659" actId="20577"/>
        <pc:sldMkLst>
          <pc:docMk/>
          <pc:sldMk cId="4253124984" sldId="256"/>
        </pc:sldMkLst>
      </pc:sldChg>
      <pc:sldChg chg="addSp delSp modSp add del">
        <pc:chgData name="Håvard Kolle Riis" userId="S::havard.kolle.riis@fhi.no::9eeaf08c-70e4-4442-9242-361477552e6a" providerId="AD" clId="Web-{5245ED13-AD0A-A2CA-717D-70BCB14258BA}" dt="2024-02-27T13:48:38.856" v="26"/>
        <pc:sldMkLst>
          <pc:docMk/>
          <pc:sldMk cId="1488006081" sldId="2147375909"/>
        </pc:sldMkLst>
      </pc:sldChg>
      <pc:sldChg chg="new del">
        <pc:chgData name="Håvard Kolle Riis" userId="S::havard.kolle.riis@fhi.no::9eeaf08c-70e4-4442-9242-361477552e6a" providerId="AD" clId="Web-{5245ED13-AD0A-A2CA-717D-70BCB14258BA}" dt="2024-02-27T13:48:41.028" v="27"/>
        <pc:sldMkLst>
          <pc:docMk/>
          <pc:sldMk cId="765340805" sldId="2147375910"/>
        </pc:sldMkLst>
      </pc:sldChg>
      <pc:sldChg chg="new del">
        <pc:chgData name="Håvard Kolle Riis" userId="S::havard.kolle.riis@fhi.no::9eeaf08c-70e4-4442-9242-361477552e6a" providerId="AD" clId="Web-{5245ED13-AD0A-A2CA-717D-70BCB14258BA}" dt="2024-02-27T13:48:28.747" v="23"/>
        <pc:sldMkLst>
          <pc:docMk/>
          <pc:sldMk cId="800145839" sldId="2147375911"/>
        </pc:sldMkLst>
      </pc:sldChg>
      <pc:sldMasterChg chg="add addSldLayout">
        <pc:chgData name="Håvard Kolle Riis" userId="S::havard.kolle.riis@fhi.no::9eeaf08c-70e4-4442-9242-361477552e6a" providerId="AD" clId="Web-{5245ED13-AD0A-A2CA-717D-70BCB14258BA}" dt="2024-02-27T13:47:42.012" v="10"/>
        <pc:sldMasterMkLst>
          <pc:docMk/>
          <pc:sldMasterMk cId="3377028584" sldId="2147483660"/>
        </pc:sldMasterMkLst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3016056269" sldId="2147483661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4254920222" sldId="2147483662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3600060052" sldId="2147483663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2588070903" sldId="2147483664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2388435417" sldId="2147483665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3261995327" sldId="2147483666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651634737" sldId="2147483667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1111846055" sldId="2147483668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3525424466" sldId="2147483669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3822629663" sldId="2147483670"/>
          </pc:sldLayoutMkLst>
        </pc:sldLayoutChg>
        <pc:sldLayoutChg chg="add">
          <pc:chgData name="Håvard Kolle Riis" userId="S::havard.kolle.riis@fhi.no::9eeaf08c-70e4-4442-9242-361477552e6a" providerId="AD" clId="Web-{5245ED13-AD0A-A2CA-717D-70BCB14258BA}" dt="2024-02-27T13:47:42.012" v="10"/>
          <pc:sldLayoutMkLst>
            <pc:docMk/>
            <pc:sldMasterMk cId="3377028584" sldId="2147483660"/>
            <pc:sldLayoutMk cId="450252044" sldId="2147483671"/>
          </pc:sldLayoutMkLst>
        </pc:sldLayoutChg>
      </pc:sldMasterChg>
    </pc:docChg>
  </pc:docChgLst>
  <pc:docChgLst>
    <pc:chgData name="Håvard Kolle Riis" userId="S::havard.kolle.riis@fhi.no::9eeaf08c-70e4-4442-9242-361477552e6a" providerId="AD" clId="Web-{F410145B-C3C3-A32A-9A1D-97FA1443AB07}"/>
    <pc:docChg chg="modSld">
      <pc:chgData name="Håvard Kolle Riis" userId="S::havard.kolle.riis@fhi.no::9eeaf08c-70e4-4442-9242-361477552e6a" providerId="AD" clId="Web-{F410145B-C3C3-A32A-9A1D-97FA1443AB07}" dt="2024-05-27T07:18:38.723" v="185"/>
      <pc:docMkLst>
        <pc:docMk/>
      </pc:docMkLst>
      <pc:sldChg chg="modSp">
        <pc:chgData name="Håvard Kolle Riis" userId="S::havard.kolle.riis@fhi.no::9eeaf08c-70e4-4442-9242-361477552e6a" providerId="AD" clId="Web-{F410145B-C3C3-A32A-9A1D-97FA1443AB07}" dt="2024-05-27T07:18:38.723" v="185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44425C36-C5F4-A176-F203-29A4E8668774}"/>
    <pc:docChg chg="modSld">
      <pc:chgData name="Håvard Kolle Riis" userId="S::havard.kolle.riis@fhi.no::9eeaf08c-70e4-4442-9242-361477552e6a" providerId="AD" clId="Web-{44425C36-C5F4-A176-F203-29A4E8668774}" dt="2024-05-30T09:48:01.541" v="129"/>
      <pc:docMkLst>
        <pc:docMk/>
      </pc:docMkLst>
      <pc:sldChg chg="modSp">
        <pc:chgData name="Håvard Kolle Riis" userId="S::havard.kolle.riis@fhi.no::9eeaf08c-70e4-4442-9242-361477552e6a" providerId="AD" clId="Web-{44425C36-C5F4-A176-F203-29A4E8668774}" dt="2024-05-30T09:48:01.541" v="129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1AB4F45D-4C3A-96B9-E6EB-B057AFD13B1A}"/>
    <pc:docChg chg="modSld">
      <pc:chgData name="Håvard Kolle Riis" userId="S::havard.kolle.riis@fhi.no::9eeaf08c-70e4-4442-9242-361477552e6a" providerId="AD" clId="Web-{1AB4F45D-4C3A-96B9-E6EB-B057AFD13B1A}" dt="2024-09-10T07:11:01.814" v="12" actId="20577"/>
      <pc:docMkLst>
        <pc:docMk/>
      </pc:docMkLst>
      <pc:sldChg chg="modSp">
        <pc:chgData name="Håvard Kolle Riis" userId="S::havard.kolle.riis@fhi.no::9eeaf08c-70e4-4442-9242-361477552e6a" providerId="AD" clId="Web-{1AB4F45D-4C3A-96B9-E6EB-B057AFD13B1A}" dt="2024-09-10T07:11:01.814" v="12" actId="20577"/>
        <pc:sldMkLst>
          <pc:docMk/>
          <pc:sldMk cId="4253124984" sldId="256"/>
        </pc:sldMkLst>
      </pc:sldChg>
    </pc:docChg>
  </pc:docChgLst>
  <pc:docChgLst>
    <pc:chgData name="Håvard Kolle Riis" userId="S::havard.kolle.riis@fhi.no::9eeaf08c-70e4-4442-9242-361477552e6a" providerId="AD" clId="Web-{EDDCEC72-9366-BAC5-ADCC-D2F81A1CB653}"/>
    <pc:docChg chg="modSld">
      <pc:chgData name="Håvard Kolle Riis" userId="S::havard.kolle.riis@fhi.no::9eeaf08c-70e4-4442-9242-361477552e6a" providerId="AD" clId="Web-{EDDCEC72-9366-BAC5-ADCC-D2F81A1CB653}" dt="2024-02-28T14:15:14.242" v="17"/>
      <pc:docMkLst>
        <pc:docMk/>
      </pc:docMkLst>
      <pc:sldChg chg="modSp">
        <pc:chgData name="Håvard Kolle Riis" userId="S::havard.kolle.riis@fhi.no::9eeaf08c-70e4-4442-9242-361477552e6a" providerId="AD" clId="Web-{EDDCEC72-9366-BAC5-ADCC-D2F81A1CB653}" dt="2024-02-28T14:15:14.242" v="17"/>
        <pc:sldMkLst>
          <pc:docMk/>
          <pc:sldMk cId="4253124984" sldId="25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77D80-62CC-4C9C-80F5-A5A8B38D9515}" type="datetimeFigureOut">
              <a:t>2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D3D6F8-68CF-484F-9245-DF26B20B430F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746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542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980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333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16056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9202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00600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8070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884354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61995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16347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1846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1273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254244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226296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0252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081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821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207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560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6863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284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015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43BDC-0553-40FA-A4DB-EDAAA606CFF6}" type="datetimeFigureOut">
              <a:rPr lang="en-US" smtClean="0"/>
              <a:t>2/3/2025</a:t>
            </a:fld>
            <a:endParaRPr lang="en-US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319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76419C8-E68A-4E82-B1B5-3A84F7900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76419C8-E68A-4E82-B1B5-3A84F7900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028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6DB03FD-F981-6209-CC3B-54148515A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68"/>
            <a:ext cx="10515600" cy="1325563"/>
          </a:xfrm>
        </p:spPr>
        <p:txBody>
          <a:bodyPr/>
          <a:lstStyle/>
          <a:p>
            <a:r>
              <a:rPr lang="nb-NO" sz="3000" b="1" dirty="0">
                <a:latin typeface="Arial"/>
                <a:cs typeface="Arial"/>
              </a:rPr>
              <a:t>Agenda Helsedatarådet 5. februar 12.00-15.00</a:t>
            </a:r>
            <a:endParaRPr lang="en-US" sz="3000" dirty="0">
              <a:latin typeface="Arial"/>
              <a:cs typeface="Arial"/>
            </a:endParaRPr>
          </a:p>
          <a:p>
            <a:endParaRPr lang="en-US">
              <a:cs typeface="Calibri Light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00CD574-5025-976C-B0D3-6E72DEE73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945131"/>
              </p:ext>
            </p:extLst>
          </p:nvPr>
        </p:nvGraphicFramePr>
        <p:xfrm>
          <a:off x="601800" y="930259"/>
          <a:ext cx="11310672" cy="402286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02631">
                  <a:extLst>
                    <a:ext uri="{9D8B030D-6E8A-4147-A177-3AD203B41FA5}">
                      <a16:colId xmlns:a16="http://schemas.microsoft.com/office/drawing/2014/main" val="982708103"/>
                    </a:ext>
                  </a:extLst>
                </a:gridCol>
                <a:gridCol w="862263">
                  <a:extLst>
                    <a:ext uri="{9D8B030D-6E8A-4147-A177-3AD203B41FA5}">
                      <a16:colId xmlns:a16="http://schemas.microsoft.com/office/drawing/2014/main" val="1175549074"/>
                    </a:ext>
                  </a:extLst>
                </a:gridCol>
                <a:gridCol w="7536266">
                  <a:extLst>
                    <a:ext uri="{9D8B030D-6E8A-4147-A177-3AD203B41FA5}">
                      <a16:colId xmlns:a16="http://schemas.microsoft.com/office/drawing/2014/main" val="4243552062"/>
                    </a:ext>
                  </a:extLst>
                </a:gridCol>
                <a:gridCol w="1909512">
                  <a:extLst>
                    <a:ext uri="{9D8B030D-6E8A-4147-A177-3AD203B41FA5}">
                      <a16:colId xmlns:a16="http://schemas.microsoft.com/office/drawing/2014/main" val="3869398781"/>
                    </a:ext>
                  </a:extLst>
                </a:gridCol>
              </a:tblGrid>
              <a:tr h="226540">
                <a:tc>
                  <a:txBody>
                    <a:bodyPr/>
                    <a:lstStyle/>
                    <a:p>
                      <a:pPr fontAlgn="base"/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Tidspunkt</a:t>
                      </a:r>
                      <a:endParaRPr lang="nb-NO" b="1" dirty="0">
                        <a:solidFill>
                          <a:srgbClr val="FFFFFF"/>
                        </a:solidFill>
                        <a:effectLst/>
                        <a:highlight>
                          <a:srgbClr val="0169E8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69E8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200" b="1" dirty="0" err="1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Saksnr</a:t>
                      </a:r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. </a:t>
                      </a:r>
                    </a:p>
                  </a:txBody>
                  <a:tcPr marL="45720" marR="45720" marT="22860" marB="22860">
                    <a:lnL w="11744">
                      <a:solidFill>
                        <a:srgbClr val="FFFFFF"/>
                      </a:solidFill>
                    </a:lnL>
                    <a:lnR w="11744">
                      <a:solidFill>
                        <a:srgbClr val="FFFFFF"/>
                      </a:solidFill>
                    </a:lnR>
                    <a:lnT w="11744">
                      <a:solidFill>
                        <a:srgbClr val="FFFFFF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0169E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Agendapunkt</a:t>
                      </a:r>
                      <a:endParaRPr lang="nb-NO" b="1" dirty="0">
                        <a:solidFill>
                          <a:srgbClr val="FFFFFF"/>
                        </a:solidFill>
                        <a:effectLst/>
                        <a:highlight>
                          <a:srgbClr val="0169E8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69E8"/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2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0169E8"/>
                          </a:highlight>
                          <a:latin typeface="Arial"/>
                        </a:rPr>
                        <a:t>Presentasjon</a:t>
                      </a:r>
                      <a:endParaRPr lang="nb-NO" b="1" dirty="0">
                        <a:solidFill>
                          <a:srgbClr val="FFFFFF"/>
                        </a:solidFill>
                        <a:effectLst/>
                        <a:highlight>
                          <a:srgbClr val="0169E8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174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169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135929"/>
                  </a:ext>
                </a:extLst>
              </a:tr>
              <a:tr h="300789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.00-12.10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1/2025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elkommen, godkjenning av sakslisten og referat fra forrige møte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åvard Kolle Riis (FHI)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679274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.10-12.50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2/2025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atus Helsedataservice og datautlevering – statistikk, restanser og veien videre</a:t>
                      </a:r>
                      <a:endParaRPr lang="nb-NO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Øystein Kyrre Johansen (FHI)</a:t>
                      </a:r>
                    </a:p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ngvild Eide Graff (FHI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0661"/>
                  </a:ext>
                </a:extLst>
              </a:tr>
              <a:tr h="300789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2.50-13.30</a:t>
                      </a:r>
                      <a:endParaRPr lang="en-US" dirty="0"/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3/2025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HDS konsekvensvurdering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rianne </a:t>
                      </a:r>
                      <a:r>
                        <a:rPr lang="nb-NO" sz="1400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Bårtvedt</a:t>
                      </a: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van OS (HDIR) Elisabeth Hagen (FHI)</a:t>
                      </a:r>
                      <a:endParaRPr lang="en-US" dirty="0"/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404660"/>
                  </a:ext>
                </a:extLst>
              </a:tr>
              <a:tr h="350108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 b="0" i="0" u="none" strike="noStrike" baseline="0" noProof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 b="0" i="0" u="none" strike="noStrike" baseline="0" noProof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5720" marR="45720" marT="22860" marB="22860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604208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.40-14.10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4/2025</a:t>
                      </a:r>
                      <a:endParaRPr lang="en-US" dirty="0"/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nb-NO" sz="1400" b="0" i="0" u="none" strike="noStrike" baseline="0" noProof="0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rtre</a:t>
                      </a:r>
                      <a:r>
                        <a:rPr lang="nb-NO" sz="1400" b="0" i="0" u="none" strike="noStrike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infrastruktursamarbeidet</a:t>
                      </a:r>
                      <a:endParaRPr lang="nb-NO" sz="1400" b="0" i="0" u="none" strike="noStrike" baseline="0" noProof="0" dirty="0" err="1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hristine </a:t>
                      </a:r>
                      <a:r>
                        <a:rPr lang="nb-NO" sz="1400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ansberg</a:t>
                      </a: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(UiB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399311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.10-14.40</a:t>
                      </a: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5/2025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tatus </a:t>
                      </a:r>
                      <a:r>
                        <a:rPr lang="nb-NO" sz="1400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PUHiN</a:t>
                      </a: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prosjektet </a:t>
                      </a:r>
                      <a:endParaRPr lang="nb-NO" sz="1400" dirty="0" err="1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30" marR="91430" marT="45710" marB="4571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fontAlgn="auto"/>
                      <a:r>
                        <a:rPr lang="nb-NO" sz="1400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nne Heidi Skogholt (HDIR)</a:t>
                      </a: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3209798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4.50-15.00</a:t>
                      </a:r>
                    </a:p>
                  </a:txBody>
                  <a:tcPr marL="91429" marR="91429" marT="45709" marB="45709"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91429" marR="91429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b-NO" sz="1400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Eventuelt</a:t>
                      </a:r>
                    </a:p>
                  </a:txBody>
                  <a:tcPr marL="91429" marR="91429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nb-NO" sz="1400">
                        <a:solidFill>
                          <a:srgbClr val="281C2C"/>
                        </a:solidFill>
                        <a:effectLst/>
                        <a:highlight>
                          <a:srgbClr val="CBD4F6"/>
                        </a:highlight>
                        <a:latin typeface="Arial"/>
                      </a:endParaRPr>
                    </a:p>
                  </a:txBody>
                  <a:tcPr marL="45720" marR="45720" marT="22860" marB="228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767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3124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7b03e3f-0198-4cf0-8ef3-8a9cdea3a6ce" xsi:nil="true"/>
    <Tema xmlns="88595634-ea7b-4c92-b295-196ded768a9e" xsi:nil="true"/>
    <lcf76f155ced4ddcb4097134ff3c332f xmlns="88595634-ea7b-4c92-b295-196ded768a9e">
      <Terms xmlns="http://schemas.microsoft.com/office/infopath/2007/PartnerControls"/>
    </lcf76f155ced4ddcb4097134ff3c332f>
    <AvsnitttilGard xmlns="88595634-ea7b-4c92-b295-196ded768a9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65FC782EEBE54CAEC53DEDA7D5C459" ma:contentTypeVersion="42" ma:contentTypeDescription="Create a new document." ma:contentTypeScope="" ma:versionID="014965ccc47df91f889641513bb0783f">
  <xsd:schema xmlns:xsd="http://www.w3.org/2001/XMLSchema" xmlns:xs="http://www.w3.org/2001/XMLSchema" xmlns:p="http://schemas.microsoft.com/office/2006/metadata/properties" xmlns:ns2="88595634-ea7b-4c92-b295-196ded768a9e" xmlns:ns3="37b03e3f-0198-4cf0-8ef3-8a9cdea3a6ce" targetNamespace="http://schemas.microsoft.com/office/2006/metadata/properties" ma:root="true" ma:fieldsID="0c1cadfab439424854df4d5e7547b073" ns2:_="" ns3:_="">
    <xsd:import namespace="88595634-ea7b-4c92-b295-196ded768a9e"/>
    <xsd:import namespace="37b03e3f-0198-4cf0-8ef3-8a9cdea3a6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Tema" minOccurs="0"/>
                <xsd:element ref="ns2:AvsnitttilGard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595634-ea7b-4c92-b295-196ded768a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e7140caa-8402-4c36-9a5d-f51276ec0a9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Tema" ma:index="18" nillable="true" ma:displayName="Tema" ma:format="Dropdown" ma:internalName="Tema" ma:readOnly="false">
      <xsd:simpleType>
        <xsd:restriction base="dms:Choice">
          <xsd:enumeration value="UH"/>
          <xsd:enumeration value="Eksempler"/>
          <xsd:enumeration value="Ikke bruk"/>
          <xsd:enumeration value="Hovedokument"/>
        </xsd:restriction>
      </xsd:simpleType>
    </xsd:element>
    <xsd:element name="AvsnitttilGard" ma:index="19" nillable="true" ma:displayName="Avsnitt til Gard" ma:internalName="AvsnitttilGard" ma:readOnly="false">
      <xsd:simpleType>
        <xsd:restriction base="dms:Text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b03e3f-0198-4cf0-8ef3-8a9cdea3a6ce" elementFormDefault="qualified">
    <xsd:import namespace="http://schemas.microsoft.com/office/2006/documentManagement/types"/>
    <xsd:import namespace="http://schemas.microsoft.com/office/infopath/2007/PartnerControls"/>
    <xsd:element name="SharedWithUsers" ma:index="6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3" nillable="true" ma:displayName="Taxonomy Catch All Column" ma:hidden="true" ma:list="{67a900e8-11f3-4da5-b019-e1840e329a85}" ma:internalName="TaxCatchAll" ma:showField="CatchAllData" ma:web="37b03e3f-0198-4cf0-8ef3-8a9cdea3a6c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FCA575-0FDF-4115-8713-BED1539D933C}">
  <ds:schemaRefs>
    <ds:schemaRef ds:uri="37b03e3f-0198-4cf0-8ef3-8a9cdea3a6ce"/>
    <ds:schemaRef ds:uri="88595634-ea7b-4c92-b295-196ded768a9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4E56E70-BFE7-499F-8011-B3105261CF3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9F7C13-C1F7-435A-8B4D-59BC14B23F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8595634-ea7b-4c92-b295-196ded768a9e"/>
    <ds:schemaRef ds:uri="37b03e3f-0198-4cf0-8ef3-8a9cdea3a6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Application>Microsoft Office PowerPoint</Application>
  <PresentationFormat>Widescreen</PresentationFormat>
  <Slides>1</Slides>
  <Notes>0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-tema</vt:lpstr>
      <vt:lpstr>1_Office-tema</vt:lpstr>
      <vt:lpstr>Agenda Helsedatarådet 5. februar 12.00-15.00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73</cp:revision>
  <dcterms:created xsi:type="dcterms:W3CDTF">2024-02-27T13:47:12Z</dcterms:created>
  <dcterms:modified xsi:type="dcterms:W3CDTF">2025-02-03T08:0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65FC782EEBE54CAEC53DEDA7D5C459</vt:lpwstr>
  </property>
  <property fmtid="{D5CDD505-2E9C-101B-9397-08002B2CF9AE}" pid="3" name="MediaServiceImageTags">
    <vt:lpwstr/>
  </property>
</Properties>
</file>